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trictFirstAndLastChars="0" saveSubsetFonts="1">
  <p:sldMasterIdLst>
    <p:sldMasterId id="2147483650" r:id="rId1"/>
  </p:sldMasterIdLst>
  <p:notesMasterIdLst>
    <p:notesMasterId r:id="rId3"/>
  </p:notesMasterIdLst>
  <p:handoutMasterIdLst>
    <p:handoutMasterId r:id="rId4"/>
  </p:handoutMasterIdLst>
  <p:sldIdLst>
    <p:sldId id="257" r:id="rId2"/>
  </p:sldIdLst>
  <p:sldSz cx="11949113" cy="6721475"/>
  <p:notesSz cx="7099300" cy="10234613"/>
  <p:custDataLst>
    <p:tags r:id="rId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6759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3530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0294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7055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3820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0584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197347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4112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17" userDrawn="1">
          <p15:clr>
            <a:srgbClr val="A4A3A4"/>
          </p15:clr>
        </p15:guide>
        <p15:guide id="2" pos="37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223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CC2D8"/>
    <a:srgbClr val="B1C6DB"/>
    <a:srgbClr val="CCDAE8"/>
    <a:srgbClr val="080808"/>
    <a:srgbClr val="F1F5F9"/>
    <a:srgbClr val="E1E9F1"/>
    <a:srgbClr val="808080"/>
    <a:srgbClr val="C30C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4779" autoAdjust="0"/>
    <p:restoredTop sz="94799" autoAdjust="0"/>
  </p:normalViewPr>
  <p:slideViewPr>
    <p:cSldViewPr snapToGrid="0">
      <p:cViewPr varScale="1">
        <p:scale>
          <a:sx n="107" d="100"/>
          <a:sy n="107" d="100"/>
        </p:scale>
        <p:origin x="-84" y="-738"/>
      </p:cViewPr>
      <p:guideLst>
        <p:guide orient="horz" pos="2117"/>
        <p:guide pos="37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76" d="100"/>
          <a:sy n="76" d="100"/>
        </p:scale>
        <p:origin x="-2142" y="-72"/>
      </p:cViewPr>
      <p:guideLst>
        <p:guide orient="horz" pos="3224"/>
        <p:guide pos="223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4988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933575" y="9955213"/>
            <a:ext cx="307340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de-DE" altLang="zh-TW"/>
              <a:t>© 2004 Capgemini - All rights reserved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955213"/>
            <a:ext cx="3074988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4313" y="9955213"/>
            <a:ext cx="3074987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F5803AF6-863C-4E79-B0E4-DA9EF3C26513}" type="slidenum">
              <a:rPr lang="de-DE" altLang="zh-TW"/>
              <a:pPr>
                <a:defRPr/>
              </a:pPr>
              <a:t>‹#›</a:t>
            </a:fld>
            <a:endParaRPr lang="de-DE" altLang="zh-TW"/>
          </a:p>
        </p:txBody>
      </p:sp>
    </p:spTree>
    <p:extLst>
      <p:ext uri="{BB962C8B-B14F-4D97-AF65-F5344CB8AC3E}">
        <p14:creationId xmlns:p14="http://schemas.microsoft.com/office/powerpoint/2010/main" val="16160561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7099300" cy="315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933575" y="9955213"/>
            <a:ext cx="307340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de-DE" altLang="zh-TW"/>
              <a:t>© 2004 Capgemini - All rights reserved</a:t>
            </a:r>
          </a:p>
        </p:txBody>
      </p:sp>
      <p:sp>
        <p:nvSpPr>
          <p:cNvPr id="2253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3588"/>
            <a:ext cx="6829425" cy="38433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7738" y="4865688"/>
            <a:ext cx="5203825" cy="4605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zh-TW" noProof="0" smtClean="0"/>
              <a:t>Click to edit Master text styles</a:t>
            </a:r>
          </a:p>
          <a:p>
            <a:pPr lvl="1"/>
            <a:r>
              <a:rPr lang="de-DE" altLang="zh-TW" noProof="0" smtClean="0"/>
              <a:t>Second level</a:t>
            </a:r>
          </a:p>
          <a:p>
            <a:pPr lvl="2"/>
            <a:r>
              <a:rPr lang="de-DE" altLang="zh-TW" noProof="0" smtClean="0"/>
              <a:t>Third level</a:t>
            </a:r>
          </a:p>
          <a:p>
            <a:pPr lvl="3"/>
            <a:r>
              <a:rPr lang="de-DE" altLang="zh-TW" noProof="0" smtClean="0"/>
              <a:t>Fourth level</a:t>
            </a:r>
          </a:p>
          <a:p>
            <a:pPr lvl="4"/>
            <a:r>
              <a:rPr lang="de-DE" altLang="zh-TW" noProof="0" smtClean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955213"/>
            <a:ext cx="3074988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4313" y="9955213"/>
            <a:ext cx="3074987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733C40E2-8272-4AE7-AB34-08FFCFB9342A}" type="slidenum">
              <a:rPr lang="de-DE" altLang="zh-TW"/>
              <a:pPr>
                <a:defRPr/>
              </a:pPr>
              <a:t>‹#›</a:t>
            </a:fld>
            <a:endParaRPr lang="de-DE" altLang="zh-TW"/>
          </a:p>
        </p:txBody>
      </p:sp>
    </p:spTree>
    <p:extLst>
      <p:ext uri="{BB962C8B-B14F-4D97-AF65-F5344CB8AC3E}">
        <p14:creationId xmlns:p14="http://schemas.microsoft.com/office/powerpoint/2010/main" val="318986418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675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353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029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705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3820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0584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7347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4112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6951743"/>
              </p:ext>
            </p:extLst>
          </p:nvPr>
        </p:nvGraphicFramePr>
        <p:xfrm>
          <a:off x="14" y="12"/>
          <a:ext cx="207443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" y="12"/>
                        <a:ext cx="207443" cy="155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banner_hom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4" y="2169432"/>
            <a:ext cx="6969138" cy="2382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7135" name="Rectangle 47"/>
          <p:cNvSpPr>
            <a:spLocks noGrp="1" noChangeArrowheads="1"/>
          </p:cNvSpPr>
          <p:nvPr>
            <p:ph type="ctrTitle" sz="quarter"/>
          </p:nvPr>
        </p:nvSpPr>
        <p:spPr>
          <a:xfrm>
            <a:off x="6969780" y="3644467"/>
            <a:ext cx="4979347" cy="907576"/>
          </a:xfrm>
        </p:spPr>
        <p:txBody>
          <a:bodyPr/>
          <a:lstStyle>
            <a:lvl1pPr algn="l">
              <a:defRPr sz="2400" b="0"/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18071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95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A64B81-DDF4-4C7E-9C3D-A4C47BE53E6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3525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14" y="3"/>
            <a:ext cx="10429861" cy="57626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179828" tIns="44725" rIns="179828" bIns="447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dirty="0" smtClean="0"/>
              <a:t>ACTION TITLE</a:t>
            </a:r>
          </a:p>
        </p:txBody>
      </p:sp>
      <p:sp>
        <p:nvSpPr>
          <p:cNvPr id="216159" name="Rectangle 9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255705" y="6348413"/>
            <a:ext cx="1693408" cy="37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450" tIns="44725" rIns="89450" bIns="44725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90000"/>
              </a:lnSpc>
              <a:spcBef>
                <a:spcPct val="0"/>
              </a:spcBef>
              <a:defRPr sz="16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5BE92BC5-E33B-412F-87DB-DE8801275F4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" name="Line 1129"/>
          <p:cNvSpPr>
            <a:spLocks noChangeShapeType="1"/>
          </p:cNvSpPr>
          <p:nvPr/>
        </p:nvSpPr>
        <p:spPr bwMode="auto">
          <a:xfrm>
            <a:off x="0" y="6348413"/>
            <a:ext cx="11949113" cy="0"/>
          </a:xfrm>
          <a:prstGeom prst="line">
            <a:avLst/>
          </a:prstGeom>
          <a:noFill/>
          <a:ln w="38100">
            <a:solidFill>
              <a:srgbClr val="92D05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119891" tIns="62344" rIns="119891" bIns="62344" anchor="ctr">
            <a:spAutoFit/>
          </a:bodyPr>
          <a:lstStyle/>
          <a:p>
            <a:endParaRPr lang="en-US" sz="3200"/>
          </a:p>
        </p:txBody>
      </p:sp>
      <p:graphicFrame>
        <p:nvGraphicFramePr>
          <p:cNvPr id="1030" name="Rectangle 2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8523327"/>
              </p:ext>
            </p:extLst>
          </p:nvPr>
        </p:nvGraphicFramePr>
        <p:xfrm>
          <a:off x="14" y="12"/>
          <a:ext cx="207443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" y="12"/>
                        <a:ext cx="207443" cy="155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0" y="703263"/>
            <a:ext cx="11949113" cy="564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79828" tIns="35967" rIns="179828" bIns="456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4176" y="131619"/>
            <a:ext cx="1290638" cy="30826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37" r:id="rId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2pPr>
      <a:lvl3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3pPr>
      <a:lvl4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4pPr>
      <a:lvl5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5pPr>
      <a:lvl6pPr marL="609073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6pPr>
      <a:lvl7pPr marL="1218162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7pPr>
      <a:lvl8pPr marL="1827242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8pPr>
      <a:lvl9pPr marL="2436316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9pPr>
    </p:titleStyle>
    <p:bodyStyle>
      <a:lvl1pPr marL="0" indent="0"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243209" indent="-243209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–"/>
        <a:defRPr sz="1800">
          <a:solidFill>
            <a:schemeClr val="tx1"/>
          </a:solidFill>
          <a:latin typeface="+mn-lt"/>
        </a:defRPr>
      </a:lvl2pPr>
      <a:lvl3pPr marL="471614" indent="-228405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•"/>
        <a:defRPr sz="1800">
          <a:solidFill>
            <a:schemeClr val="tx1"/>
          </a:solidFill>
          <a:latin typeface="+mn-lt"/>
        </a:defRPr>
      </a:lvl3pPr>
      <a:lvl4pPr marL="714822" indent="-243209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▫"/>
        <a:defRPr sz="1800">
          <a:solidFill>
            <a:schemeClr val="tx1"/>
          </a:solidFill>
          <a:latin typeface="+mn-lt"/>
        </a:defRPr>
      </a:lvl4pPr>
      <a:lvl5pPr marL="958033" indent="-243209" algn="l" defTabSz="958033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▪"/>
        <a:defRPr sz="1800">
          <a:solidFill>
            <a:schemeClr val="tx1"/>
          </a:solidFill>
          <a:latin typeface="+mn-lt"/>
        </a:defRPr>
      </a:lvl5pPr>
      <a:lvl6pPr marL="1355628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6pPr>
      <a:lvl7pPr marL="1964706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7pPr>
      <a:lvl8pPr marL="2573783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8pPr>
      <a:lvl9pPr marL="3182866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73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162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242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316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399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477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556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637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tags" Target="../tags/tag29.xml"/><Relationship Id="rId21" Type="http://schemas.openxmlformats.org/officeDocument/2006/relationships/tags" Target="../tags/tag24.xml"/><Relationship Id="rId42" Type="http://schemas.openxmlformats.org/officeDocument/2006/relationships/tags" Target="../tags/tag45.xml"/><Relationship Id="rId47" Type="http://schemas.openxmlformats.org/officeDocument/2006/relationships/tags" Target="../tags/tag50.xml"/><Relationship Id="rId63" Type="http://schemas.openxmlformats.org/officeDocument/2006/relationships/tags" Target="../tags/tag66.xml"/><Relationship Id="rId68" Type="http://schemas.openxmlformats.org/officeDocument/2006/relationships/tags" Target="../tags/tag71.xml"/><Relationship Id="rId84" Type="http://schemas.openxmlformats.org/officeDocument/2006/relationships/tags" Target="../tags/tag87.xml"/><Relationship Id="rId89" Type="http://schemas.openxmlformats.org/officeDocument/2006/relationships/tags" Target="../tags/tag92.xml"/><Relationship Id="rId112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9" Type="http://schemas.openxmlformats.org/officeDocument/2006/relationships/tags" Target="../tags/tag32.xml"/><Relationship Id="rId107" Type="http://schemas.openxmlformats.org/officeDocument/2006/relationships/tags" Target="../tags/tag110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tags" Target="../tags/tag48.xml"/><Relationship Id="rId53" Type="http://schemas.openxmlformats.org/officeDocument/2006/relationships/tags" Target="../tags/tag56.xml"/><Relationship Id="rId58" Type="http://schemas.openxmlformats.org/officeDocument/2006/relationships/tags" Target="../tags/tag61.xml"/><Relationship Id="rId66" Type="http://schemas.openxmlformats.org/officeDocument/2006/relationships/tags" Target="../tags/tag69.xml"/><Relationship Id="rId74" Type="http://schemas.openxmlformats.org/officeDocument/2006/relationships/tags" Target="../tags/tag77.xml"/><Relationship Id="rId79" Type="http://schemas.openxmlformats.org/officeDocument/2006/relationships/tags" Target="../tags/tag82.xml"/><Relationship Id="rId87" Type="http://schemas.openxmlformats.org/officeDocument/2006/relationships/tags" Target="../tags/tag90.xml"/><Relationship Id="rId102" Type="http://schemas.openxmlformats.org/officeDocument/2006/relationships/tags" Target="../tags/tag105.xml"/><Relationship Id="rId110" Type="http://schemas.openxmlformats.org/officeDocument/2006/relationships/tags" Target="../tags/tag113.xml"/><Relationship Id="rId5" Type="http://schemas.openxmlformats.org/officeDocument/2006/relationships/tags" Target="../tags/tag8.xml"/><Relationship Id="rId61" Type="http://schemas.openxmlformats.org/officeDocument/2006/relationships/tags" Target="../tags/tag64.xml"/><Relationship Id="rId82" Type="http://schemas.openxmlformats.org/officeDocument/2006/relationships/tags" Target="../tags/tag85.xml"/><Relationship Id="rId90" Type="http://schemas.openxmlformats.org/officeDocument/2006/relationships/tags" Target="../tags/tag93.xml"/><Relationship Id="rId95" Type="http://schemas.openxmlformats.org/officeDocument/2006/relationships/tags" Target="../tags/tag98.xml"/><Relationship Id="rId19" Type="http://schemas.openxmlformats.org/officeDocument/2006/relationships/tags" Target="../tags/tag2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tags" Target="../tags/tag46.xml"/><Relationship Id="rId48" Type="http://schemas.openxmlformats.org/officeDocument/2006/relationships/tags" Target="../tags/tag51.xml"/><Relationship Id="rId56" Type="http://schemas.openxmlformats.org/officeDocument/2006/relationships/tags" Target="../tags/tag59.xml"/><Relationship Id="rId64" Type="http://schemas.openxmlformats.org/officeDocument/2006/relationships/tags" Target="../tags/tag67.xml"/><Relationship Id="rId69" Type="http://schemas.openxmlformats.org/officeDocument/2006/relationships/tags" Target="../tags/tag72.xml"/><Relationship Id="rId77" Type="http://schemas.openxmlformats.org/officeDocument/2006/relationships/tags" Target="../tags/tag80.xml"/><Relationship Id="rId100" Type="http://schemas.openxmlformats.org/officeDocument/2006/relationships/tags" Target="../tags/tag103.xml"/><Relationship Id="rId105" Type="http://schemas.openxmlformats.org/officeDocument/2006/relationships/tags" Target="../tags/tag108.xml"/><Relationship Id="rId113" Type="http://schemas.openxmlformats.org/officeDocument/2006/relationships/oleObject" Target="../embeddings/oleObject3.bin"/><Relationship Id="rId8" Type="http://schemas.openxmlformats.org/officeDocument/2006/relationships/tags" Target="../tags/tag11.xml"/><Relationship Id="rId51" Type="http://schemas.openxmlformats.org/officeDocument/2006/relationships/tags" Target="../tags/tag54.xml"/><Relationship Id="rId72" Type="http://schemas.openxmlformats.org/officeDocument/2006/relationships/tags" Target="../tags/tag75.xml"/><Relationship Id="rId80" Type="http://schemas.openxmlformats.org/officeDocument/2006/relationships/tags" Target="../tags/tag83.xml"/><Relationship Id="rId85" Type="http://schemas.openxmlformats.org/officeDocument/2006/relationships/tags" Target="../tags/tag88.xml"/><Relationship Id="rId93" Type="http://schemas.openxmlformats.org/officeDocument/2006/relationships/tags" Target="../tags/tag96.xml"/><Relationship Id="rId98" Type="http://schemas.openxmlformats.org/officeDocument/2006/relationships/tags" Target="../tags/tag101.xml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tags" Target="../tags/tag49.xml"/><Relationship Id="rId59" Type="http://schemas.openxmlformats.org/officeDocument/2006/relationships/tags" Target="../tags/tag62.xml"/><Relationship Id="rId67" Type="http://schemas.openxmlformats.org/officeDocument/2006/relationships/tags" Target="../tags/tag70.xml"/><Relationship Id="rId103" Type="http://schemas.openxmlformats.org/officeDocument/2006/relationships/tags" Target="../tags/tag106.xml"/><Relationship Id="rId108" Type="http://schemas.openxmlformats.org/officeDocument/2006/relationships/tags" Target="../tags/tag111.xml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54" Type="http://schemas.openxmlformats.org/officeDocument/2006/relationships/tags" Target="../tags/tag57.xml"/><Relationship Id="rId62" Type="http://schemas.openxmlformats.org/officeDocument/2006/relationships/tags" Target="../tags/tag65.xml"/><Relationship Id="rId70" Type="http://schemas.openxmlformats.org/officeDocument/2006/relationships/tags" Target="../tags/tag73.xml"/><Relationship Id="rId75" Type="http://schemas.openxmlformats.org/officeDocument/2006/relationships/tags" Target="../tags/tag78.xml"/><Relationship Id="rId83" Type="http://schemas.openxmlformats.org/officeDocument/2006/relationships/tags" Target="../tags/tag86.xml"/><Relationship Id="rId88" Type="http://schemas.openxmlformats.org/officeDocument/2006/relationships/tags" Target="../tags/tag91.xml"/><Relationship Id="rId91" Type="http://schemas.openxmlformats.org/officeDocument/2006/relationships/tags" Target="../tags/tag94.xml"/><Relationship Id="rId96" Type="http://schemas.openxmlformats.org/officeDocument/2006/relationships/tags" Target="../tags/tag99.xml"/><Relationship Id="rId111" Type="http://schemas.openxmlformats.org/officeDocument/2006/relationships/tags" Target="../tags/tag1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9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tags" Target="../tags/tag52.xml"/><Relationship Id="rId57" Type="http://schemas.openxmlformats.org/officeDocument/2006/relationships/tags" Target="../tags/tag60.xml"/><Relationship Id="rId106" Type="http://schemas.openxmlformats.org/officeDocument/2006/relationships/tags" Target="../tags/tag109.xml"/><Relationship Id="rId114" Type="http://schemas.openxmlformats.org/officeDocument/2006/relationships/image" Target="../media/image3.emf"/><Relationship Id="rId10" Type="http://schemas.openxmlformats.org/officeDocument/2006/relationships/tags" Target="../tags/tag13.xml"/><Relationship Id="rId31" Type="http://schemas.openxmlformats.org/officeDocument/2006/relationships/tags" Target="../tags/tag34.xml"/><Relationship Id="rId44" Type="http://schemas.openxmlformats.org/officeDocument/2006/relationships/tags" Target="../tags/tag47.xml"/><Relationship Id="rId52" Type="http://schemas.openxmlformats.org/officeDocument/2006/relationships/tags" Target="../tags/tag55.xml"/><Relationship Id="rId60" Type="http://schemas.openxmlformats.org/officeDocument/2006/relationships/tags" Target="../tags/tag63.xml"/><Relationship Id="rId65" Type="http://schemas.openxmlformats.org/officeDocument/2006/relationships/tags" Target="../tags/tag68.xml"/><Relationship Id="rId73" Type="http://schemas.openxmlformats.org/officeDocument/2006/relationships/tags" Target="../tags/tag76.xml"/><Relationship Id="rId78" Type="http://schemas.openxmlformats.org/officeDocument/2006/relationships/tags" Target="../tags/tag81.xml"/><Relationship Id="rId81" Type="http://schemas.openxmlformats.org/officeDocument/2006/relationships/tags" Target="../tags/tag84.xml"/><Relationship Id="rId86" Type="http://schemas.openxmlformats.org/officeDocument/2006/relationships/tags" Target="../tags/tag89.xml"/><Relationship Id="rId94" Type="http://schemas.openxmlformats.org/officeDocument/2006/relationships/tags" Target="../tags/tag97.xml"/><Relationship Id="rId99" Type="http://schemas.openxmlformats.org/officeDocument/2006/relationships/tags" Target="../tags/tag102.xml"/><Relationship Id="rId101" Type="http://schemas.openxmlformats.org/officeDocument/2006/relationships/tags" Target="../tags/tag104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39" Type="http://schemas.openxmlformats.org/officeDocument/2006/relationships/tags" Target="../tags/tag42.xml"/><Relationship Id="rId109" Type="http://schemas.openxmlformats.org/officeDocument/2006/relationships/tags" Target="../tags/tag112.xml"/><Relationship Id="rId34" Type="http://schemas.openxmlformats.org/officeDocument/2006/relationships/tags" Target="../tags/tag37.xml"/><Relationship Id="rId50" Type="http://schemas.openxmlformats.org/officeDocument/2006/relationships/tags" Target="../tags/tag53.xml"/><Relationship Id="rId55" Type="http://schemas.openxmlformats.org/officeDocument/2006/relationships/tags" Target="../tags/tag58.xml"/><Relationship Id="rId76" Type="http://schemas.openxmlformats.org/officeDocument/2006/relationships/tags" Target="../tags/tag79.xml"/><Relationship Id="rId97" Type="http://schemas.openxmlformats.org/officeDocument/2006/relationships/tags" Target="../tags/tag100.xml"/><Relationship Id="rId104" Type="http://schemas.openxmlformats.org/officeDocument/2006/relationships/tags" Target="../tags/tag107.xml"/><Relationship Id="rId7" Type="http://schemas.openxmlformats.org/officeDocument/2006/relationships/tags" Target="../tags/tag10.xml"/><Relationship Id="rId71" Type="http://schemas.openxmlformats.org/officeDocument/2006/relationships/tags" Target="../tags/tag74.xml"/><Relationship Id="rId92" Type="http://schemas.openxmlformats.org/officeDocument/2006/relationships/tags" Target="../tags/tag9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86169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0" name="think-cell Slide" r:id="rId113" imgW="383" imgH="385" progId="TCLayout.ActiveDocument.1">
                  <p:embed/>
                </p:oleObj>
              </mc:Choice>
              <mc:Fallback>
                <p:oleObj name="think-cell Slide" r:id="rId113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-61197" y="-64831"/>
            <a:ext cx="281145" cy="288413"/>
          </a:xfrm>
          <a:prstGeom prst="rect">
            <a:avLst/>
          </a:prstGeom>
          <a:solidFill>
            <a:scrgbClr r="0" g="0" b="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/>
            <a:endParaRPr kumimoji="0" lang="en-US" sz="1400" b="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antt Char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A64B81-DDF4-4C7E-9C3D-A4C47BE53E61}" type="slidenum">
              <a:rPr lang="en-US" smtClean="0"/>
              <a:pPr>
                <a:defRPr/>
              </a:pPr>
              <a:t>0</a:t>
            </a:fld>
            <a:endParaRPr lang="en-US"/>
          </a:p>
        </p:txBody>
      </p:sp>
      <p:sp>
        <p:nvSpPr>
          <p:cNvPr id="101" name="Rectangle 100"/>
          <p:cNvSpPr/>
          <p:nvPr>
            <p:custDataLst>
              <p:tags r:id="rId4"/>
            </p:custDataLst>
          </p:nvPr>
        </p:nvSpPr>
        <p:spPr bwMode="auto">
          <a:xfrm>
            <a:off x="7373938" y="1670050"/>
            <a:ext cx="773113" cy="37496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2" name="Text Placeholder 31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2155825" y="889000"/>
            <a:ext cx="5926138" cy="2603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none" lIns="0" tIns="23813" rIns="0" bIns="23813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0C9146D-2668-49B5-A70E-FA4D438A4710}" type="datetime'''''''''''2''''''''''''''''''''0''''''''''''''''''''1''3'''''">
              <a:rPr lang="en-US" sz="1400"/>
              <a:pPr/>
              <a:t>2013</a:t>
            </a:fld>
            <a:endParaRPr lang="en-US" sz="1400" kern="0" dirty="0">
              <a:sym typeface="+mn-lt"/>
            </a:endParaRPr>
          </a:p>
        </p:txBody>
      </p:sp>
      <p:sp>
        <p:nvSpPr>
          <p:cNvPr id="103" name="Text Placeholder 31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8081963" y="889000"/>
            <a:ext cx="1997075" cy="2603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none" lIns="0" tIns="23813" rIns="0" bIns="23813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34F6558-C25A-483B-98D8-30471624344D}" type="datetime'2''''''''''''''''''''''''''''''''''''''''''0''1''4'''''">
              <a:rPr lang="en-US" sz="1400"/>
              <a:pPr/>
              <a:t>2014</a:t>
            </a:fld>
            <a:endParaRPr lang="en-US" sz="1400" kern="0" dirty="0">
              <a:sym typeface="+mn-lt"/>
            </a:endParaRPr>
          </a:p>
        </p:txBody>
      </p:sp>
      <p:sp>
        <p:nvSpPr>
          <p:cNvPr id="104" name="Text Placeholder 31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2155826" y="1149350"/>
            <a:ext cx="1997075" cy="2603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none" lIns="0" tIns="23813" rIns="0" bIns="23813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102C029-168D-47CB-8220-910B4493427A}" type="datetime'''''''''''''''''''''''''Oc''t'''''''''">
              <a:rPr lang="en-US" sz="1400"/>
              <a:pPr/>
              <a:t>Oct</a:t>
            </a:fld>
            <a:endParaRPr lang="en-US" sz="1400" kern="0" dirty="0">
              <a:sym typeface="+mn-lt"/>
            </a:endParaRPr>
          </a:p>
        </p:txBody>
      </p:sp>
      <p:sp>
        <p:nvSpPr>
          <p:cNvPr id="105" name="Text Placeholder 31"/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4152900" y="1149350"/>
            <a:ext cx="1931988" cy="2603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none" lIns="0" tIns="23813" rIns="0" bIns="23813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D7C7094-1C86-4C7D-9A43-299D54C41435}" type="datetime'''''''''''''N''''''''o''''''''''''''''v'''''''''''''''''''">
              <a:rPr lang="en-US" sz="1400"/>
              <a:pPr/>
              <a:t>Nov</a:t>
            </a:fld>
            <a:endParaRPr lang="en-US" sz="1400" kern="0" dirty="0">
              <a:sym typeface="+mn-lt"/>
            </a:endParaRPr>
          </a:p>
        </p:txBody>
      </p:sp>
      <p:sp>
        <p:nvSpPr>
          <p:cNvPr id="106" name="Text Placeholder 31"/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6084888" y="1149350"/>
            <a:ext cx="1997075" cy="2603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none" lIns="0" tIns="23813" rIns="0" bIns="23813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44ED73C-42E7-44A9-AF38-C8FC2E882B30}" type="datetime'''''''''''''D''e''''''''''''c'''''''''''''''">
              <a:rPr lang="en-US" sz="1400"/>
              <a:pPr/>
              <a:t>Dec</a:t>
            </a:fld>
            <a:endParaRPr lang="en-US" sz="1400" kern="0" dirty="0">
              <a:sym typeface="+mn-lt"/>
            </a:endParaRPr>
          </a:p>
        </p:txBody>
      </p:sp>
      <p:sp>
        <p:nvSpPr>
          <p:cNvPr id="107" name="Text Placeholder 31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8081963" y="1149350"/>
            <a:ext cx="1997075" cy="2603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none" lIns="0" tIns="23813" rIns="0" bIns="23813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3E73D90-9795-4812-A039-914F1D56DF67}" type="datetime'''''Ja''''''''''''''''''''''''''''''''''''''n'''">
              <a:rPr lang="en-US" sz="1400"/>
              <a:pPr/>
              <a:t>Jan</a:t>
            </a:fld>
            <a:endParaRPr lang="en-US" sz="140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8" name="Text Placeholder 31"/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2155826" y="1409700"/>
            <a:ext cx="385763" cy="2603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none" lIns="0" tIns="23813" rIns="0" bIns="23813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79292F2-02F9-436F-B16D-4D5D2F6F2F5B}" type="datetime'''''''''''''''''''''''''''4''''''''0'''''''''''''''">
              <a:rPr lang="en-US" sz="1400"/>
              <a:pPr/>
              <a:t>40</a:t>
            </a:fld>
            <a:endParaRPr lang="en-US" sz="1400" kern="0" dirty="0">
              <a:sym typeface="+mn-lt"/>
            </a:endParaRPr>
          </a:p>
        </p:txBody>
      </p:sp>
      <p:sp>
        <p:nvSpPr>
          <p:cNvPr id="109" name="Text Placeholder 31"/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2541588" y="1409700"/>
            <a:ext cx="452438" cy="2603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none" lIns="0" tIns="23813" rIns="0" bIns="23813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9D3018D-D875-47B7-B6C1-C2A0074F670A}" type="datetime'''''4''''''''''''''1'''''''''''''''''''''''''''''''''''''''''">
              <a:rPr lang="en-US" sz="1400"/>
              <a:pPr/>
              <a:t>41</a:t>
            </a:fld>
            <a:endParaRPr lang="en-US" sz="1400" kern="0" dirty="0">
              <a:sym typeface="+mn-lt"/>
            </a:endParaRPr>
          </a:p>
        </p:txBody>
      </p:sp>
      <p:sp>
        <p:nvSpPr>
          <p:cNvPr id="110" name="Text Placeholder 31"/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2994025" y="1409700"/>
            <a:ext cx="450850" cy="2603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none" lIns="0" tIns="23813" rIns="0" bIns="23813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9C5ABD7-17BC-47FC-9038-99AC27664C20}" type="datetime'''4''''''''''''''2'''''''''''''''''''''''''''''''''">
              <a:rPr lang="en-US" sz="1400"/>
              <a:pPr/>
              <a:t>42</a:t>
            </a:fld>
            <a:endParaRPr lang="en-US" sz="1400" kern="0" dirty="0">
              <a:sym typeface="+mn-lt"/>
            </a:endParaRPr>
          </a:p>
        </p:txBody>
      </p:sp>
      <p:sp>
        <p:nvSpPr>
          <p:cNvPr id="111" name="Text Placeholder 31"/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3444875" y="1409700"/>
            <a:ext cx="450850" cy="2603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none" lIns="0" tIns="23813" rIns="0" bIns="23813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DA35AC0-08EF-4A36-B3C8-88618F04BC4A}" type="datetime'''''''''''''''''''''4''''''''''''''''''''''''3'''">
              <a:rPr lang="en-US" sz="1400"/>
              <a:pPr/>
              <a:t>43</a:t>
            </a:fld>
            <a:endParaRPr lang="en-US" sz="1400" kern="0" dirty="0">
              <a:sym typeface="+mn-lt"/>
            </a:endParaRPr>
          </a:p>
        </p:txBody>
      </p:sp>
      <p:sp>
        <p:nvSpPr>
          <p:cNvPr id="112" name="Text Placeholder 31"/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3895725" y="1409700"/>
            <a:ext cx="450850" cy="2603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none" lIns="0" tIns="23813" rIns="0" bIns="23813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BD7AC45-AA75-46CA-8121-1409CC756B1E}" type="datetime'''''''''''''''''''''''''''4''''''''4'''''''''''''''''''">
              <a:rPr lang="en-US" sz="1400"/>
              <a:pPr/>
              <a:t>44</a:t>
            </a:fld>
            <a:endParaRPr lang="en-US" sz="1400" kern="0" dirty="0">
              <a:sym typeface="+mn-lt"/>
            </a:endParaRPr>
          </a:p>
        </p:txBody>
      </p:sp>
      <p:sp>
        <p:nvSpPr>
          <p:cNvPr id="113" name="Text Placeholder 31"/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4346575" y="1409700"/>
            <a:ext cx="450850" cy="2603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none" lIns="0" tIns="23813" rIns="0" bIns="23813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DDB8611-442D-4E1A-AD4C-728F50F94245}" type="datetime'''''''4''''''''''''''''''''''''''''5'''''''''''">
              <a:rPr lang="en-US" sz="1400"/>
              <a:pPr/>
              <a:t>45</a:t>
            </a:fld>
            <a:endParaRPr lang="en-US" sz="1400" kern="0" dirty="0">
              <a:sym typeface="+mn-lt"/>
            </a:endParaRPr>
          </a:p>
        </p:txBody>
      </p:sp>
      <p:sp>
        <p:nvSpPr>
          <p:cNvPr id="114" name="Text Placeholder 31"/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4797425" y="1409700"/>
            <a:ext cx="450850" cy="2603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none" lIns="0" tIns="23813" rIns="0" bIns="23813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1BB1E77-4934-40E3-8765-EE124843E0FA}" type="datetime'''''''''4''''''''''''6'''''''''''''''''''''''''''''''''''''''">
              <a:rPr lang="en-US" sz="1400"/>
              <a:pPr/>
              <a:t>46</a:t>
            </a:fld>
            <a:endParaRPr lang="en-US" sz="1400" kern="0" dirty="0">
              <a:sym typeface="+mn-lt"/>
            </a:endParaRPr>
          </a:p>
        </p:txBody>
      </p:sp>
      <p:sp>
        <p:nvSpPr>
          <p:cNvPr id="115" name="Text Placeholder 31"/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5248275" y="1409700"/>
            <a:ext cx="450850" cy="2603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none" lIns="0" tIns="23813" rIns="0" bIns="23813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89F4BE9-E86F-4075-845F-110DC6B3EBC3}" type="datetime'''''''''''4''''''''''''''''''7'''''''''''''''''''''''">
              <a:rPr lang="en-US" sz="1400"/>
              <a:pPr/>
              <a:t>47</a:t>
            </a:fld>
            <a:endParaRPr lang="en-US" sz="1400" kern="0" dirty="0">
              <a:sym typeface="+mn-lt"/>
            </a:endParaRPr>
          </a:p>
        </p:txBody>
      </p:sp>
      <p:sp>
        <p:nvSpPr>
          <p:cNvPr id="116" name="Text Placeholder 31"/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5699125" y="1409700"/>
            <a:ext cx="450850" cy="2603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none" lIns="0" tIns="23813" rIns="0" bIns="23813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A5FFCBB-3284-4115-AE46-E760F46921D5}" type="datetime'''''''''''''''''''''''4''8'''''''''''''''">
              <a:rPr lang="en-US" sz="1400"/>
              <a:pPr/>
              <a:t>48</a:t>
            </a:fld>
            <a:endParaRPr lang="en-US" sz="1400" kern="0" dirty="0">
              <a:sym typeface="+mn-lt"/>
            </a:endParaRPr>
          </a:p>
        </p:txBody>
      </p:sp>
      <p:sp>
        <p:nvSpPr>
          <p:cNvPr id="117" name="Text Placeholder 31"/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6149975" y="1409700"/>
            <a:ext cx="450850" cy="2603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none" lIns="0" tIns="23813" rIns="0" bIns="23813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9183A92-510D-47A4-827B-AFAD0DE70314}" type="datetime'4''''''''''''''''9'''''''''''''''">
              <a:rPr lang="en-US" sz="1400"/>
              <a:pPr/>
              <a:t>49</a:t>
            </a:fld>
            <a:endParaRPr lang="en-US" sz="1400" kern="0" dirty="0">
              <a:sym typeface="+mn-lt"/>
            </a:endParaRPr>
          </a:p>
        </p:txBody>
      </p:sp>
      <p:sp>
        <p:nvSpPr>
          <p:cNvPr id="118" name="Text Placeholder 31"/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6600825" y="1409700"/>
            <a:ext cx="450850" cy="2603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none" lIns="0" tIns="23813" rIns="0" bIns="23813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6B16394-7857-499B-855C-0B8DBF20CB40}" type="datetime'''''''''5''''''''''''''''''''0'''''''''''''">
              <a:rPr lang="en-US" sz="1400"/>
              <a:pPr/>
              <a:t>50</a:t>
            </a:fld>
            <a:endParaRPr lang="en-US" sz="1400" kern="0" dirty="0">
              <a:sym typeface="+mn-lt"/>
            </a:endParaRPr>
          </a:p>
        </p:txBody>
      </p:sp>
      <p:sp>
        <p:nvSpPr>
          <p:cNvPr id="119" name="Text Placeholder 31"/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7051675" y="1409700"/>
            <a:ext cx="450850" cy="2603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none" lIns="0" tIns="23813" rIns="0" bIns="23813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07D62BC-CDC7-49C4-BB3F-13CE66FF99A9}" type="datetime'5''''''1'''''''''''''''''''''''''''''''''''''''''''">
              <a:rPr lang="en-US" sz="1400"/>
              <a:pPr/>
              <a:t>51</a:t>
            </a:fld>
            <a:endParaRPr lang="en-US" sz="1400" kern="0" dirty="0">
              <a:sym typeface="+mn-lt"/>
            </a:endParaRPr>
          </a:p>
        </p:txBody>
      </p:sp>
      <p:sp>
        <p:nvSpPr>
          <p:cNvPr id="120" name="Text Placeholder 31"/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7502525" y="1409700"/>
            <a:ext cx="450850" cy="2603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none" lIns="0" tIns="23813" rIns="0" bIns="23813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333C77C-6499-41DA-B1F7-36DA9AD8D0D4}" type="datetime'''''''''''''''''''''''''''''5''''''''''''''2'''''''''''''">
              <a:rPr lang="en-US" sz="1400"/>
              <a:pPr/>
              <a:t>52</a:t>
            </a:fld>
            <a:endParaRPr lang="en-US" sz="1400" kern="0" dirty="0">
              <a:sym typeface="+mn-lt"/>
            </a:endParaRPr>
          </a:p>
        </p:txBody>
      </p:sp>
      <p:sp>
        <p:nvSpPr>
          <p:cNvPr id="121" name="Text Placeholder 31"/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7953375" y="1409700"/>
            <a:ext cx="450850" cy="2603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none" lIns="0" tIns="23813" rIns="0" bIns="23813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8880698-8779-405D-AC65-58EFE4CC125E}" type="datetime'''''''''''''''''''''''''''''''0''1'''''''''''''''''''">
              <a:rPr lang="en-US" sz="1400"/>
              <a:pPr/>
              <a:t>01</a:t>
            </a:fld>
            <a:endParaRPr lang="en-US" sz="140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2" name="Text Placeholder 31"/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8404225" y="1409700"/>
            <a:ext cx="450850" cy="2603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none" lIns="0" tIns="23813" rIns="0" bIns="23813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86F855D-88B1-4B7D-BB32-CF8DA158599F}" type="datetime'''''''''''''''''''0''''''''''''''''2'''''''''''''''''''''">
              <a:rPr lang="en-US" sz="1400"/>
              <a:pPr/>
              <a:t>02</a:t>
            </a:fld>
            <a:endParaRPr lang="en-US" sz="140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3" name="Text Placeholder 31"/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8855075" y="1409700"/>
            <a:ext cx="450850" cy="2603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none" lIns="0" tIns="23813" rIns="0" bIns="23813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ECB74F2-170C-4F9F-A9C8-F2AE52A095CA}" type="datetime'03'''''''''''''''''">
              <a:rPr lang="en-US" sz="1400"/>
              <a:pPr/>
              <a:t>03</a:t>
            </a:fld>
            <a:endParaRPr lang="en-US" sz="140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4" name="Text Placeholder 31"/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9305925" y="1409700"/>
            <a:ext cx="450850" cy="2603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none" lIns="0" tIns="23813" rIns="0" bIns="23813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70FBF75-3D56-411C-A53D-68ACF85EB62F}" type="datetime'''''''0''''''''''''''''''''''''''''''''''''''''''''''4'''">
              <a:rPr lang="en-US" sz="1400"/>
              <a:pPr/>
              <a:t>04</a:t>
            </a:fld>
            <a:endParaRPr lang="en-US" sz="140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5" name="Text Placeholder 31"/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9756775" y="1409700"/>
            <a:ext cx="322263" cy="2603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none" lIns="0" tIns="23813" rIns="0" bIns="23813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BE753FF-414D-4F56-A89A-41BA712F0133}" type="datetime'''''''''''''''''''''''''0''''''''''5'''''''''''''''''''''''">
              <a:rPr lang="en-US" sz="1400"/>
              <a:pPr/>
              <a:t>05</a:t>
            </a:fld>
            <a:endParaRPr lang="en-US" sz="140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44" name="Straight Connector 143"/>
          <p:cNvCxnSpPr/>
          <p:nvPr>
            <p:custDataLst>
              <p:tags r:id="rId29"/>
            </p:custDataLst>
          </p:nvPr>
        </p:nvCxnSpPr>
        <p:spPr bwMode="auto">
          <a:xfrm>
            <a:off x="4346575" y="1670050"/>
            <a:ext cx="0" cy="3749675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1" name="Straight Connector 140"/>
          <p:cNvCxnSpPr/>
          <p:nvPr>
            <p:custDataLst>
              <p:tags r:id="rId30"/>
            </p:custDataLst>
          </p:nvPr>
        </p:nvCxnSpPr>
        <p:spPr bwMode="auto">
          <a:xfrm>
            <a:off x="4152900" y="1670050"/>
            <a:ext cx="0" cy="3749675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7" name="Straight Connector 146"/>
          <p:cNvCxnSpPr/>
          <p:nvPr>
            <p:custDataLst>
              <p:tags r:id="rId31"/>
            </p:custDataLst>
          </p:nvPr>
        </p:nvCxnSpPr>
        <p:spPr bwMode="auto">
          <a:xfrm>
            <a:off x="6600825" y="1670050"/>
            <a:ext cx="0" cy="3749675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7" name="Straight Connector 136"/>
          <p:cNvCxnSpPr/>
          <p:nvPr>
            <p:custDataLst>
              <p:tags r:id="rId32"/>
            </p:custDataLst>
          </p:nvPr>
        </p:nvCxnSpPr>
        <p:spPr bwMode="auto">
          <a:xfrm>
            <a:off x="7502525" y="1670050"/>
            <a:ext cx="0" cy="3749675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0" name="Straight Connector 139"/>
          <p:cNvCxnSpPr/>
          <p:nvPr>
            <p:custDataLst>
              <p:tags r:id="rId33"/>
            </p:custDataLst>
          </p:nvPr>
        </p:nvCxnSpPr>
        <p:spPr bwMode="auto">
          <a:xfrm>
            <a:off x="9756775" y="1670050"/>
            <a:ext cx="0" cy="3749675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8" name="Straight Connector 137"/>
          <p:cNvCxnSpPr/>
          <p:nvPr>
            <p:custDataLst>
              <p:tags r:id="rId34"/>
            </p:custDataLst>
          </p:nvPr>
        </p:nvCxnSpPr>
        <p:spPr bwMode="auto">
          <a:xfrm>
            <a:off x="6149975" y="1670050"/>
            <a:ext cx="0" cy="3749675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8" name="Straight Connector 127"/>
          <p:cNvCxnSpPr/>
          <p:nvPr>
            <p:custDataLst>
              <p:tags r:id="rId35"/>
            </p:custDataLst>
          </p:nvPr>
        </p:nvCxnSpPr>
        <p:spPr bwMode="auto">
          <a:xfrm>
            <a:off x="7051675" y="1670050"/>
            <a:ext cx="0" cy="3749675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9" name="Straight Connector 128"/>
          <p:cNvCxnSpPr/>
          <p:nvPr>
            <p:custDataLst>
              <p:tags r:id="rId36"/>
            </p:custDataLst>
          </p:nvPr>
        </p:nvCxnSpPr>
        <p:spPr bwMode="auto">
          <a:xfrm>
            <a:off x="5699125" y="1670050"/>
            <a:ext cx="0" cy="3749675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3" name="Straight Connector 142"/>
          <p:cNvCxnSpPr/>
          <p:nvPr>
            <p:custDataLst>
              <p:tags r:id="rId37"/>
            </p:custDataLst>
          </p:nvPr>
        </p:nvCxnSpPr>
        <p:spPr bwMode="auto">
          <a:xfrm>
            <a:off x="5248275" y="1670050"/>
            <a:ext cx="0" cy="3749675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8" name="Straight Connector 147"/>
          <p:cNvCxnSpPr/>
          <p:nvPr>
            <p:custDataLst>
              <p:tags r:id="rId38"/>
            </p:custDataLst>
          </p:nvPr>
        </p:nvCxnSpPr>
        <p:spPr bwMode="auto">
          <a:xfrm>
            <a:off x="4797425" y="1670050"/>
            <a:ext cx="0" cy="3749675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9" name="Straight Connector 138"/>
          <p:cNvCxnSpPr/>
          <p:nvPr>
            <p:custDataLst>
              <p:tags r:id="rId39"/>
            </p:custDataLst>
          </p:nvPr>
        </p:nvCxnSpPr>
        <p:spPr bwMode="auto">
          <a:xfrm>
            <a:off x="11599863" y="1670050"/>
            <a:ext cx="0" cy="374967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1" name="Straight Connector 130"/>
          <p:cNvCxnSpPr/>
          <p:nvPr>
            <p:custDataLst>
              <p:tags r:id="rId40"/>
            </p:custDataLst>
          </p:nvPr>
        </p:nvCxnSpPr>
        <p:spPr bwMode="auto">
          <a:xfrm>
            <a:off x="9305925" y="1670050"/>
            <a:ext cx="0" cy="3749675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6" name="Straight Connector 125"/>
          <p:cNvCxnSpPr/>
          <p:nvPr>
            <p:custDataLst>
              <p:tags r:id="rId41"/>
            </p:custDataLst>
          </p:nvPr>
        </p:nvCxnSpPr>
        <p:spPr bwMode="auto">
          <a:xfrm>
            <a:off x="300038" y="1670050"/>
            <a:ext cx="0" cy="374967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6" name="Straight Connector 135"/>
          <p:cNvCxnSpPr/>
          <p:nvPr>
            <p:custDataLst>
              <p:tags r:id="rId42"/>
            </p:custDataLst>
          </p:nvPr>
        </p:nvCxnSpPr>
        <p:spPr bwMode="auto">
          <a:xfrm>
            <a:off x="8404225" y="1670050"/>
            <a:ext cx="0" cy="3749675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7" name="Straight Connector 126"/>
          <p:cNvCxnSpPr/>
          <p:nvPr>
            <p:custDataLst>
              <p:tags r:id="rId43"/>
            </p:custDataLst>
          </p:nvPr>
        </p:nvCxnSpPr>
        <p:spPr bwMode="auto">
          <a:xfrm>
            <a:off x="10079038" y="1670050"/>
            <a:ext cx="0" cy="374967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5" name="Straight Connector 134"/>
          <p:cNvCxnSpPr/>
          <p:nvPr>
            <p:custDataLst>
              <p:tags r:id="rId44"/>
            </p:custDataLst>
          </p:nvPr>
        </p:nvCxnSpPr>
        <p:spPr bwMode="auto">
          <a:xfrm>
            <a:off x="7953375" y="1670050"/>
            <a:ext cx="0" cy="3749675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6" name="Straight Connector 145"/>
          <p:cNvCxnSpPr/>
          <p:nvPr>
            <p:custDataLst>
              <p:tags r:id="rId45"/>
            </p:custDataLst>
          </p:nvPr>
        </p:nvCxnSpPr>
        <p:spPr bwMode="auto">
          <a:xfrm>
            <a:off x="3444875" y="1670050"/>
            <a:ext cx="0" cy="3749675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2" name="Straight Connector 141"/>
          <p:cNvCxnSpPr/>
          <p:nvPr>
            <p:custDataLst>
              <p:tags r:id="rId46"/>
            </p:custDataLst>
          </p:nvPr>
        </p:nvCxnSpPr>
        <p:spPr bwMode="auto">
          <a:xfrm>
            <a:off x="2155825" y="1670050"/>
            <a:ext cx="0" cy="374967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3" name="Straight Connector 132"/>
          <p:cNvCxnSpPr/>
          <p:nvPr>
            <p:custDataLst>
              <p:tags r:id="rId47"/>
            </p:custDataLst>
          </p:nvPr>
        </p:nvCxnSpPr>
        <p:spPr bwMode="auto">
          <a:xfrm>
            <a:off x="2994025" y="1670050"/>
            <a:ext cx="0" cy="3749675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0" name="Straight Connector 129"/>
          <p:cNvCxnSpPr/>
          <p:nvPr>
            <p:custDataLst>
              <p:tags r:id="rId48"/>
            </p:custDataLst>
          </p:nvPr>
        </p:nvCxnSpPr>
        <p:spPr bwMode="auto">
          <a:xfrm>
            <a:off x="2541588" y="1670050"/>
            <a:ext cx="0" cy="3749675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4" name="Straight Connector 133"/>
          <p:cNvCxnSpPr/>
          <p:nvPr>
            <p:custDataLst>
              <p:tags r:id="rId49"/>
            </p:custDataLst>
          </p:nvPr>
        </p:nvCxnSpPr>
        <p:spPr bwMode="auto">
          <a:xfrm>
            <a:off x="8081963" y="1670050"/>
            <a:ext cx="0" cy="3749675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2" name="Straight Connector 131"/>
          <p:cNvCxnSpPr/>
          <p:nvPr>
            <p:custDataLst>
              <p:tags r:id="rId50"/>
            </p:custDataLst>
          </p:nvPr>
        </p:nvCxnSpPr>
        <p:spPr bwMode="auto">
          <a:xfrm>
            <a:off x="6084888" y="1670050"/>
            <a:ext cx="0" cy="3749675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5" name="Straight Connector 144"/>
          <p:cNvCxnSpPr/>
          <p:nvPr>
            <p:custDataLst>
              <p:tags r:id="rId51"/>
            </p:custDataLst>
          </p:nvPr>
        </p:nvCxnSpPr>
        <p:spPr bwMode="auto">
          <a:xfrm>
            <a:off x="3895725" y="1670050"/>
            <a:ext cx="0" cy="3749675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9" name="Straight Connector 148"/>
          <p:cNvCxnSpPr/>
          <p:nvPr>
            <p:custDataLst>
              <p:tags r:id="rId52"/>
            </p:custDataLst>
          </p:nvPr>
        </p:nvCxnSpPr>
        <p:spPr bwMode="auto">
          <a:xfrm>
            <a:off x="300038" y="2847975"/>
            <a:ext cx="11299825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1" name="Straight Connector 150"/>
          <p:cNvCxnSpPr/>
          <p:nvPr>
            <p:custDataLst>
              <p:tags r:id="rId53"/>
            </p:custDataLst>
          </p:nvPr>
        </p:nvCxnSpPr>
        <p:spPr bwMode="auto">
          <a:xfrm>
            <a:off x="300038" y="5419725"/>
            <a:ext cx="11299825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0" name="Straight Connector 149"/>
          <p:cNvCxnSpPr/>
          <p:nvPr>
            <p:custDataLst>
              <p:tags r:id="rId54"/>
            </p:custDataLst>
          </p:nvPr>
        </p:nvCxnSpPr>
        <p:spPr bwMode="auto">
          <a:xfrm>
            <a:off x="300038" y="4027488"/>
            <a:ext cx="11299825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2" name="Straight Connector 151"/>
          <p:cNvCxnSpPr/>
          <p:nvPr>
            <p:custDataLst>
              <p:tags r:id="rId55"/>
            </p:custDataLst>
          </p:nvPr>
        </p:nvCxnSpPr>
        <p:spPr bwMode="auto">
          <a:xfrm>
            <a:off x="8855075" y="1670050"/>
            <a:ext cx="0" cy="3913188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53" name="Straight Connector 152"/>
          <p:cNvCxnSpPr/>
          <p:nvPr>
            <p:custDataLst>
              <p:tags r:id="rId56"/>
            </p:custDataLst>
          </p:nvPr>
        </p:nvCxnSpPr>
        <p:spPr bwMode="auto">
          <a:xfrm>
            <a:off x="300038" y="1670050"/>
            <a:ext cx="11299825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5" name="Left Arrow 154"/>
          <p:cNvSpPr/>
          <p:nvPr>
            <p:custDataLst>
              <p:tags r:id="rId57"/>
            </p:custDataLst>
          </p:nvPr>
        </p:nvSpPr>
        <p:spPr bwMode="gray">
          <a:xfrm>
            <a:off x="2054227" y="1914525"/>
            <a:ext cx="2292350" cy="158750"/>
          </a:xfrm>
          <a:prstGeom prst="leftArrow">
            <a:avLst>
              <a:gd name="adj1" fmla="val 50000"/>
              <a:gd name="adj2" fmla="val 40657"/>
            </a:avLst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4" name="Rectangle 153"/>
          <p:cNvSpPr/>
          <p:nvPr>
            <p:custDataLst>
              <p:tags r:id="rId58"/>
            </p:custDataLst>
          </p:nvPr>
        </p:nvSpPr>
        <p:spPr bwMode="auto">
          <a:xfrm>
            <a:off x="5505450" y="3133725"/>
            <a:ext cx="1158875" cy="7937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6" name="Rectangle 155"/>
          <p:cNvSpPr/>
          <p:nvPr>
            <p:custDataLst>
              <p:tags r:id="rId59"/>
            </p:custDataLst>
          </p:nvPr>
        </p:nvSpPr>
        <p:spPr bwMode="auto">
          <a:xfrm>
            <a:off x="5505450" y="2468563"/>
            <a:ext cx="1158875" cy="7937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8" name="Right Arrow 157"/>
          <p:cNvSpPr/>
          <p:nvPr>
            <p:custDataLst>
              <p:tags r:id="rId60"/>
            </p:custDataLst>
          </p:nvPr>
        </p:nvSpPr>
        <p:spPr bwMode="gray">
          <a:xfrm>
            <a:off x="8855075" y="3608388"/>
            <a:ext cx="1325563" cy="158750"/>
          </a:xfrm>
          <a:prstGeom prst="rightArrow">
            <a:avLst>
              <a:gd name="adj1" fmla="val 50000"/>
              <a:gd name="adj2" fmla="val 40657"/>
            </a:avLst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9" name="Rectangle 158"/>
          <p:cNvSpPr/>
          <p:nvPr>
            <p:custDataLst>
              <p:tags r:id="rId61"/>
            </p:custDataLst>
          </p:nvPr>
        </p:nvSpPr>
        <p:spPr bwMode="auto">
          <a:xfrm>
            <a:off x="7051675" y="3648075"/>
            <a:ext cx="1803400" cy="7937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0" name="Rectangle 159"/>
          <p:cNvSpPr/>
          <p:nvPr>
            <p:custDataLst>
              <p:tags r:id="rId62"/>
            </p:custDataLst>
          </p:nvPr>
        </p:nvSpPr>
        <p:spPr bwMode="gray">
          <a:xfrm>
            <a:off x="6664325" y="3133725"/>
            <a:ext cx="2190750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7" name="Rectangle 156"/>
          <p:cNvSpPr/>
          <p:nvPr>
            <p:custDataLst>
              <p:tags r:id="rId63"/>
            </p:custDataLst>
          </p:nvPr>
        </p:nvSpPr>
        <p:spPr bwMode="gray">
          <a:xfrm>
            <a:off x="3379788" y="2468563"/>
            <a:ext cx="2125663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1" name="Isosceles Triangle 160"/>
          <p:cNvSpPr/>
          <p:nvPr>
            <p:custDataLst>
              <p:tags r:id="rId64"/>
            </p:custDataLst>
          </p:nvPr>
        </p:nvSpPr>
        <p:spPr bwMode="auto">
          <a:xfrm rot="5400000">
            <a:off x="10171113" y="2205038"/>
            <a:ext cx="212725" cy="107950"/>
          </a:xfrm>
          <a:prstGeom prst="triangle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4" name="Right Bracket 163"/>
          <p:cNvSpPr/>
          <p:nvPr>
            <p:custDataLst>
              <p:tags r:id="rId65"/>
            </p:custDataLst>
          </p:nvPr>
        </p:nvSpPr>
        <p:spPr bwMode="auto">
          <a:xfrm rot="5400000">
            <a:off x="7705725" y="5122863"/>
            <a:ext cx="107950" cy="773113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2" name="Right Bracket 161"/>
          <p:cNvSpPr/>
          <p:nvPr>
            <p:custDataLst>
              <p:tags r:id="rId66"/>
            </p:custDataLst>
          </p:nvPr>
        </p:nvSpPr>
        <p:spPr bwMode="auto">
          <a:xfrm>
            <a:off x="10115550" y="1706563"/>
            <a:ext cx="107950" cy="1104900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3" name="Isosceles Triangle 162"/>
          <p:cNvSpPr/>
          <p:nvPr>
            <p:custDataLst>
              <p:tags r:id="rId67"/>
            </p:custDataLst>
          </p:nvPr>
        </p:nvSpPr>
        <p:spPr bwMode="auto">
          <a:xfrm rot="10800000">
            <a:off x="7653338" y="5564188"/>
            <a:ext cx="212725" cy="107950"/>
          </a:xfrm>
          <a:prstGeom prst="triangle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5" name="Isosceles Triangle 164"/>
          <p:cNvSpPr/>
          <p:nvPr>
            <p:custDataLst>
              <p:tags r:id="rId68"/>
            </p:custDataLst>
          </p:nvPr>
        </p:nvSpPr>
        <p:spPr bwMode="gray">
          <a:xfrm>
            <a:off x="9826625" y="4302125"/>
            <a:ext cx="119063" cy="103188"/>
          </a:xfrm>
          <a:prstGeom prst="triangle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6" name="Isosceles Triangle 165"/>
          <p:cNvSpPr/>
          <p:nvPr>
            <p:custDataLst>
              <p:tags r:id="rId69"/>
            </p:custDataLst>
          </p:nvPr>
        </p:nvSpPr>
        <p:spPr bwMode="gray">
          <a:xfrm>
            <a:off x="9375775" y="4302125"/>
            <a:ext cx="119063" cy="103188"/>
          </a:xfrm>
          <a:prstGeom prst="triangle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7" name="Isosceles Triangle 166"/>
          <p:cNvSpPr/>
          <p:nvPr>
            <p:custDataLst>
              <p:tags r:id="rId70"/>
            </p:custDataLst>
          </p:nvPr>
        </p:nvSpPr>
        <p:spPr bwMode="gray">
          <a:xfrm>
            <a:off x="8924925" y="4302125"/>
            <a:ext cx="119062" cy="103188"/>
          </a:xfrm>
          <a:prstGeom prst="triangle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8" name="Isosceles Triangle 167"/>
          <p:cNvSpPr/>
          <p:nvPr>
            <p:custDataLst>
              <p:tags r:id="rId71"/>
            </p:custDataLst>
          </p:nvPr>
        </p:nvSpPr>
        <p:spPr bwMode="gray">
          <a:xfrm>
            <a:off x="8474075" y="4302125"/>
            <a:ext cx="119063" cy="103188"/>
          </a:xfrm>
          <a:prstGeom prst="triangle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9" name="Isosceles Triangle 168"/>
          <p:cNvSpPr/>
          <p:nvPr>
            <p:custDataLst>
              <p:tags r:id="rId72"/>
            </p:custDataLst>
          </p:nvPr>
        </p:nvSpPr>
        <p:spPr bwMode="gray">
          <a:xfrm>
            <a:off x="7121525" y="4302125"/>
            <a:ext cx="119062" cy="103188"/>
          </a:xfrm>
          <a:prstGeom prst="triangle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0" name="Isosceles Triangle 169"/>
          <p:cNvSpPr/>
          <p:nvPr>
            <p:custDataLst>
              <p:tags r:id="rId73"/>
            </p:custDataLst>
          </p:nvPr>
        </p:nvSpPr>
        <p:spPr bwMode="gray">
          <a:xfrm>
            <a:off x="6670675" y="4302125"/>
            <a:ext cx="119063" cy="103188"/>
          </a:xfrm>
          <a:prstGeom prst="triangle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1" name="Isosceles Triangle 170"/>
          <p:cNvSpPr/>
          <p:nvPr>
            <p:custDataLst>
              <p:tags r:id="rId74"/>
            </p:custDataLst>
          </p:nvPr>
        </p:nvSpPr>
        <p:spPr bwMode="gray">
          <a:xfrm>
            <a:off x="6219825" y="4302125"/>
            <a:ext cx="119062" cy="103188"/>
          </a:xfrm>
          <a:prstGeom prst="triangle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2" name="Isosceles Triangle 171"/>
          <p:cNvSpPr/>
          <p:nvPr>
            <p:custDataLst>
              <p:tags r:id="rId75"/>
            </p:custDataLst>
          </p:nvPr>
        </p:nvSpPr>
        <p:spPr bwMode="gray">
          <a:xfrm>
            <a:off x="5768975" y="4302125"/>
            <a:ext cx="119063" cy="103188"/>
          </a:xfrm>
          <a:prstGeom prst="triangle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3" name="Isosceles Triangle 172"/>
          <p:cNvSpPr/>
          <p:nvPr>
            <p:custDataLst>
              <p:tags r:id="rId76"/>
            </p:custDataLst>
          </p:nvPr>
        </p:nvSpPr>
        <p:spPr bwMode="gray">
          <a:xfrm>
            <a:off x="5318125" y="4302125"/>
            <a:ext cx="119062" cy="103188"/>
          </a:xfrm>
          <a:prstGeom prst="triangle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4" name="Isosceles Triangle 173"/>
          <p:cNvSpPr/>
          <p:nvPr>
            <p:custDataLst>
              <p:tags r:id="rId77"/>
            </p:custDataLst>
          </p:nvPr>
        </p:nvSpPr>
        <p:spPr bwMode="gray">
          <a:xfrm>
            <a:off x="4867275" y="4302125"/>
            <a:ext cx="119063" cy="103188"/>
          </a:xfrm>
          <a:prstGeom prst="triangle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5" name="Isosceles Triangle 174"/>
          <p:cNvSpPr/>
          <p:nvPr>
            <p:custDataLst>
              <p:tags r:id="rId78"/>
            </p:custDataLst>
          </p:nvPr>
        </p:nvSpPr>
        <p:spPr bwMode="gray">
          <a:xfrm>
            <a:off x="4416425" y="4302125"/>
            <a:ext cx="119062" cy="103188"/>
          </a:xfrm>
          <a:prstGeom prst="triangle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6" name="Isosceles Triangle 175"/>
          <p:cNvSpPr/>
          <p:nvPr>
            <p:custDataLst>
              <p:tags r:id="rId79"/>
            </p:custDataLst>
          </p:nvPr>
        </p:nvSpPr>
        <p:spPr bwMode="gray">
          <a:xfrm>
            <a:off x="3965575" y="4302125"/>
            <a:ext cx="119062" cy="103188"/>
          </a:xfrm>
          <a:prstGeom prst="triangle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7" name="Diamond 176"/>
          <p:cNvSpPr/>
          <p:nvPr>
            <p:custDataLst>
              <p:tags r:id="rId80"/>
            </p:custDataLst>
          </p:nvPr>
        </p:nvSpPr>
        <p:spPr bwMode="gray">
          <a:xfrm>
            <a:off x="8345488" y="4808538"/>
            <a:ext cx="119063" cy="119063"/>
          </a:xfrm>
          <a:prstGeom prst="diamond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8" name="Isosceles Triangle 177"/>
          <p:cNvSpPr/>
          <p:nvPr>
            <p:custDataLst>
              <p:tags r:id="rId81"/>
            </p:custDataLst>
          </p:nvPr>
        </p:nvSpPr>
        <p:spPr bwMode="gray">
          <a:xfrm>
            <a:off x="3514725" y="4302125"/>
            <a:ext cx="119063" cy="103188"/>
          </a:xfrm>
          <a:prstGeom prst="triangle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0" name="Isosceles Triangle 179"/>
          <p:cNvSpPr/>
          <p:nvPr>
            <p:custDataLst>
              <p:tags r:id="rId82"/>
            </p:custDataLst>
          </p:nvPr>
        </p:nvSpPr>
        <p:spPr bwMode="gray">
          <a:xfrm>
            <a:off x="3063875" y="4302125"/>
            <a:ext cx="119062" cy="103188"/>
          </a:xfrm>
          <a:prstGeom prst="triangle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9" name="Diamond 178"/>
          <p:cNvSpPr/>
          <p:nvPr>
            <p:custDataLst>
              <p:tags r:id="rId83"/>
            </p:custDataLst>
          </p:nvPr>
        </p:nvSpPr>
        <p:spPr bwMode="gray">
          <a:xfrm>
            <a:off x="6091238" y="4808538"/>
            <a:ext cx="119062" cy="119063"/>
          </a:xfrm>
          <a:prstGeom prst="diamond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1" name="Oval 180"/>
          <p:cNvSpPr/>
          <p:nvPr>
            <p:custDataLst>
              <p:tags r:id="rId84"/>
            </p:custDataLst>
          </p:nvPr>
        </p:nvSpPr>
        <p:spPr bwMode="auto">
          <a:xfrm>
            <a:off x="10791825" y="3079750"/>
            <a:ext cx="203200" cy="2032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3" name="Oval 182"/>
          <p:cNvSpPr/>
          <p:nvPr>
            <p:custDataLst>
              <p:tags r:id="rId85"/>
            </p:custDataLst>
          </p:nvPr>
        </p:nvSpPr>
        <p:spPr bwMode="auto">
          <a:xfrm>
            <a:off x="10791825" y="3594100"/>
            <a:ext cx="203200" cy="2032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2" name="Diamond 181"/>
          <p:cNvSpPr/>
          <p:nvPr>
            <p:custDataLst>
              <p:tags r:id="rId86"/>
            </p:custDataLst>
          </p:nvPr>
        </p:nvSpPr>
        <p:spPr bwMode="gray">
          <a:xfrm>
            <a:off x="4287838" y="4808538"/>
            <a:ext cx="119063" cy="119063"/>
          </a:xfrm>
          <a:prstGeom prst="diamond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4" name="Isosceles Triangle 183"/>
          <p:cNvSpPr/>
          <p:nvPr>
            <p:custDataLst>
              <p:tags r:id="rId87"/>
            </p:custDataLst>
          </p:nvPr>
        </p:nvSpPr>
        <p:spPr bwMode="gray">
          <a:xfrm>
            <a:off x="2613025" y="4302125"/>
            <a:ext cx="119063" cy="103188"/>
          </a:xfrm>
          <a:prstGeom prst="triangle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9" name="Isosceles Triangle 188"/>
          <p:cNvSpPr/>
          <p:nvPr>
            <p:custDataLst>
              <p:tags r:id="rId88"/>
            </p:custDataLst>
          </p:nvPr>
        </p:nvSpPr>
        <p:spPr bwMode="gray">
          <a:xfrm>
            <a:off x="6605588" y="2457450"/>
            <a:ext cx="119062" cy="103188"/>
          </a:xfrm>
          <a:prstGeom prst="triangle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0" name="Diamond 189"/>
          <p:cNvSpPr/>
          <p:nvPr>
            <p:custDataLst>
              <p:tags r:id="rId89"/>
            </p:custDataLst>
          </p:nvPr>
        </p:nvSpPr>
        <p:spPr bwMode="gray">
          <a:xfrm>
            <a:off x="2482850" y="4808538"/>
            <a:ext cx="119063" cy="119063"/>
          </a:xfrm>
          <a:prstGeom prst="diamond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6" name="Isosceles Triangle 185"/>
          <p:cNvSpPr/>
          <p:nvPr>
            <p:custDataLst>
              <p:tags r:id="rId90"/>
            </p:custDataLst>
          </p:nvPr>
        </p:nvSpPr>
        <p:spPr bwMode="gray">
          <a:xfrm>
            <a:off x="2162175" y="4302125"/>
            <a:ext cx="119062" cy="103188"/>
          </a:xfrm>
          <a:prstGeom prst="triangle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5" name="Isosceles Triangle 184"/>
          <p:cNvSpPr/>
          <p:nvPr>
            <p:custDataLst>
              <p:tags r:id="rId91"/>
            </p:custDataLst>
          </p:nvPr>
        </p:nvSpPr>
        <p:spPr bwMode="gray">
          <a:xfrm>
            <a:off x="8796338" y="5532438"/>
            <a:ext cx="119063" cy="103188"/>
          </a:xfrm>
          <a:prstGeom prst="triangle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7" name="Arc 186"/>
          <p:cNvSpPr/>
          <p:nvPr>
            <p:custDataLst>
              <p:tags r:id="rId92"/>
            </p:custDataLst>
          </p:nvPr>
        </p:nvSpPr>
        <p:spPr bwMode="gray">
          <a:xfrm>
            <a:off x="10791825" y="3594100"/>
            <a:ext cx="203200" cy="203200"/>
          </a:xfrm>
          <a:prstGeom prst="arc">
            <a:avLst>
              <a:gd name="adj1" fmla="val 16200000"/>
              <a:gd name="adj2" fmla="val 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8" name="Arc 187"/>
          <p:cNvSpPr/>
          <p:nvPr>
            <p:custDataLst>
              <p:tags r:id="rId93"/>
            </p:custDataLst>
          </p:nvPr>
        </p:nvSpPr>
        <p:spPr bwMode="gray">
          <a:xfrm>
            <a:off x="10791825" y="3079750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3" name="Text Placeholder 29"/>
          <p:cNvSpPr txBox="1">
            <a:spLocks/>
          </p:cNvSpPr>
          <p:nvPr>
            <p:custDataLst>
              <p:tags r:id="rId94"/>
            </p:custDataLst>
          </p:nvPr>
        </p:nvSpPr>
        <p:spPr bwMode="auto">
          <a:xfrm>
            <a:off x="479425" y="3589338"/>
            <a:ext cx="13604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0" smtClean="0">
                <a:sym typeface="+mn-lt"/>
              </a:rPr>
              <a:t>Rollout execution</a:t>
            </a:r>
            <a:endParaRPr lang="en-US" sz="1400" b="0" kern="0" dirty="0">
              <a:sym typeface="+mn-lt"/>
            </a:endParaRPr>
          </a:p>
        </p:txBody>
      </p:sp>
      <p:sp useBgFill="1">
        <p:nvSpPr>
          <p:cNvPr id="191" name="Text Placeholder 43"/>
          <p:cNvSpPr txBox="1">
            <a:spLocks/>
          </p:cNvSpPr>
          <p:nvPr>
            <p:custDataLst>
              <p:tags r:id="rId95"/>
            </p:custDataLst>
          </p:nvPr>
        </p:nvSpPr>
        <p:spPr bwMode="auto">
          <a:xfrm>
            <a:off x="6770688" y="2189163"/>
            <a:ext cx="1970088" cy="638175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fld id="{DDBE1B79-BC4A-4CA3-B549-960C94A0C6F7}" type="datetime'''9.''''''1''2''''.''''''''''''''''''''1''''''''''''''3'''">
              <a:rPr lang="en-US" sz="1400" b="0"/>
              <a:pPr/>
              <a:t>9.12.13</a:t>
            </a:fld>
            <a:r>
              <a:rPr lang="en-US" sz="1400" b="0" smtClean="0">
                <a:sym typeface="+mn-lt"/>
              </a:rPr>
              <a:t/>
            </a:r>
            <a:br>
              <a:rPr lang="en-US" sz="1400" b="0" smtClean="0">
                <a:sym typeface="+mn-lt"/>
              </a:rPr>
            </a:br>
            <a:r>
              <a:rPr lang="en-US" sz="1400" b="0" smtClean="0">
                <a:sym typeface="+mn-lt"/>
              </a:rPr>
              <a:t>Chinese translation from </a:t>
            </a:r>
            <a:br>
              <a:rPr lang="en-US" sz="1400" b="0" smtClean="0">
                <a:sym typeface="+mn-lt"/>
              </a:rPr>
            </a:br>
            <a:r>
              <a:rPr lang="en-US" sz="1400" b="0" smtClean="0">
                <a:sym typeface="+mn-lt"/>
              </a:rPr>
              <a:t>Mr. Whu should arrive</a:t>
            </a:r>
            <a:endParaRPr lang="en-US" sz="1400" b="0" kern="0" dirty="0">
              <a:sym typeface="+mn-lt"/>
            </a:endParaRPr>
          </a:p>
        </p:txBody>
      </p:sp>
      <p:sp useBgFill="1">
        <p:nvSpPr>
          <p:cNvPr id="199" name="Text Placeholder 46"/>
          <p:cNvSpPr txBox="1">
            <a:spLocks/>
          </p:cNvSpPr>
          <p:nvPr>
            <p:custDataLst>
              <p:tags r:id="rId96"/>
            </p:custDataLst>
          </p:nvPr>
        </p:nvSpPr>
        <p:spPr bwMode="auto">
          <a:xfrm>
            <a:off x="4057650" y="4954588"/>
            <a:ext cx="577850" cy="212725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fld id="{5B67451F-62B1-4C98-93CB-94A4F9995DEF}" type="datetime'''''''''''''''4''''''''.''''1''''''''''''''''1.''''13'">
              <a:rPr lang="en-US" sz="1400" b="0"/>
              <a:pPr/>
              <a:t>4.11.13</a:t>
            </a:fld>
            <a:endParaRPr lang="en-US" sz="1400" b="0" kern="0" dirty="0">
              <a:sym typeface="+mn-lt"/>
            </a:endParaRPr>
          </a:p>
        </p:txBody>
      </p:sp>
      <p:sp>
        <p:nvSpPr>
          <p:cNvPr id="204" name="Text Placeholder 29"/>
          <p:cNvSpPr txBox="1">
            <a:spLocks/>
          </p:cNvSpPr>
          <p:nvPr>
            <p:custDataLst>
              <p:tags r:id="rId97"/>
            </p:custDataLst>
          </p:nvPr>
        </p:nvSpPr>
        <p:spPr bwMode="auto">
          <a:xfrm>
            <a:off x="479425" y="1895475"/>
            <a:ext cx="1030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0" smtClean="0">
                <a:sym typeface="+mn-lt"/>
              </a:rPr>
              <a:t>IT integration</a:t>
            </a:r>
            <a:endParaRPr lang="en-US" sz="1400" b="0" kern="0" dirty="0">
              <a:sym typeface="+mn-lt"/>
            </a:endParaRPr>
          </a:p>
        </p:txBody>
      </p:sp>
      <p:sp>
        <p:nvSpPr>
          <p:cNvPr id="206" name="Text Placeholder 50"/>
          <p:cNvSpPr txBox="1">
            <a:spLocks/>
          </p:cNvSpPr>
          <p:nvPr>
            <p:custDataLst>
              <p:tags r:id="rId98"/>
            </p:custDataLst>
          </p:nvPr>
        </p:nvSpPr>
        <p:spPr bwMode="auto">
          <a:xfrm>
            <a:off x="10367963" y="1433513"/>
            <a:ext cx="10525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b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fld id="{B73E018D-8328-4AFB-BF6A-9AA3FE4122FC}" type="datetime'''Re''s''''po''''''''n''''si''b''''''l''''''e'">
              <a:rPr lang="en-US" sz="1400"/>
              <a:pPr/>
              <a:t>Responsible</a:t>
            </a:fld>
            <a:endParaRPr lang="en-US" sz="140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8" name="Text Placeholder 30"/>
          <p:cNvSpPr txBox="1">
            <a:spLocks/>
          </p:cNvSpPr>
          <p:nvPr>
            <p:custDataLst>
              <p:tags r:id="rId99"/>
            </p:custDataLst>
          </p:nvPr>
        </p:nvSpPr>
        <p:spPr bwMode="auto">
          <a:xfrm>
            <a:off x="479425" y="1433513"/>
            <a:ext cx="6397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b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fld id="{27E4D80E-7581-413B-A12B-4D70524C325F}" type="datetime'Ac''''''''''''''''t''''iv''''''''''''i''t''''''''y'''''''">
              <a:rPr lang="en-US" sz="1400"/>
              <a:pPr/>
              <a:t>Activity</a:t>
            </a:fld>
            <a:endParaRPr lang="en-US" sz="1400" kern="0" dirty="0">
              <a:sym typeface="+mn-lt"/>
            </a:endParaRPr>
          </a:p>
        </p:txBody>
      </p:sp>
      <p:sp>
        <p:nvSpPr>
          <p:cNvPr id="194" name="Text Placeholder 29"/>
          <p:cNvSpPr txBox="1">
            <a:spLocks/>
          </p:cNvSpPr>
          <p:nvPr>
            <p:custDataLst>
              <p:tags r:id="rId100"/>
            </p:custDataLst>
          </p:nvPr>
        </p:nvSpPr>
        <p:spPr bwMode="auto">
          <a:xfrm>
            <a:off x="479425" y="4768850"/>
            <a:ext cx="1349375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0" smtClean="0">
                <a:sym typeface="+mn-lt"/>
              </a:rPr>
              <a:t>Monthly steering </a:t>
            </a:r>
            <a:br>
              <a:rPr lang="en-US" sz="1400" b="0" smtClean="0">
                <a:sym typeface="+mn-lt"/>
              </a:rPr>
            </a:br>
            <a:r>
              <a:rPr lang="en-US" sz="1400" b="0" smtClean="0">
                <a:sym typeface="+mn-lt"/>
              </a:rPr>
              <a:t>committee</a:t>
            </a:r>
            <a:endParaRPr lang="en-US" sz="1400" b="0" kern="0" dirty="0">
              <a:sym typeface="+mn-lt"/>
            </a:endParaRPr>
          </a:p>
        </p:txBody>
      </p:sp>
      <p:sp useBgFill="1">
        <p:nvSpPr>
          <p:cNvPr id="193" name="Text Placeholder 47"/>
          <p:cNvSpPr txBox="1">
            <a:spLocks/>
          </p:cNvSpPr>
          <p:nvPr>
            <p:custDataLst>
              <p:tags r:id="rId101"/>
            </p:custDataLst>
          </p:nvPr>
        </p:nvSpPr>
        <p:spPr bwMode="auto">
          <a:xfrm>
            <a:off x="5854700" y="4954588"/>
            <a:ext cx="590550" cy="212725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fld id="{507496EE-9430-48F5-B924-F09F0DBE7893}" type="datetime'2''''''''''''''.''''''1''''''''''''2''''''''.''1''''3'''''">
              <a:rPr lang="en-US" sz="1400" b="0"/>
              <a:pPr/>
              <a:t>2.12.13</a:t>
            </a:fld>
            <a:endParaRPr lang="en-US" sz="1400" b="0" kern="0" dirty="0">
              <a:sym typeface="+mn-lt"/>
            </a:endParaRPr>
          </a:p>
        </p:txBody>
      </p:sp>
      <p:sp useBgFill="1">
        <p:nvSpPr>
          <p:cNvPr id="205" name="Text Placeholder 49"/>
          <p:cNvSpPr txBox="1">
            <a:spLocks/>
          </p:cNvSpPr>
          <p:nvPr>
            <p:custDataLst>
              <p:tags r:id="rId102"/>
            </p:custDataLst>
          </p:nvPr>
        </p:nvSpPr>
        <p:spPr bwMode="auto">
          <a:xfrm>
            <a:off x="7419975" y="5689600"/>
            <a:ext cx="681038" cy="212725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0" smtClean="0"/>
              <a:t>Holidays</a:t>
            </a:r>
            <a:endParaRPr lang="en-US" sz="1400" b="0" kern="0" dirty="0">
              <a:sym typeface="+mn-lt"/>
            </a:endParaRPr>
          </a:p>
        </p:txBody>
      </p:sp>
      <p:sp useBgFill="1">
        <p:nvSpPr>
          <p:cNvPr id="202" name="Text Placeholder 48"/>
          <p:cNvSpPr txBox="1">
            <a:spLocks/>
          </p:cNvSpPr>
          <p:nvPr>
            <p:custDataLst>
              <p:tags r:id="rId103"/>
            </p:custDataLst>
          </p:nvPr>
        </p:nvSpPr>
        <p:spPr bwMode="auto">
          <a:xfrm>
            <a:off x="8158163" y="4954588"/>
            <a:ext cx="492125" cy="212725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fld id="{A488A4AB-444E-47C3-AEB8-531BDECFC5BD}" type="datetime'''6''''''''.''''''''''''''1''.''''''''''''''''14'">
              <a:rPr lang="en-US" sz="1400" b="0"/>
              <a:pPr/>
              <a:t>6.1.14</a:t>
            </a:fld>
            <a:endParaRPr lang="en-US" sz="1400" b="0" kern="0" dirty="0">
              <a:sym typeface="+mn-lt"/>
            </a:endParaRPr>
          </a:p>
        </p:txBody>
      </p:sp>
      <p:sp>
        <p:nvSpPr>
          <p:cNvPr id="196" name="Text Placeholder 52"/>
          <p:cNvSpPr txBox="1">
            <a:spLocks/>
          </p:cNvSpPr>
          <p:nvPr>
            <p:custDataLst>
              <p:tags r:id="rId104"/>
            </p:custDataLst>
          </p:nvPr>
        </p:nvSpPr>
        <p:spPr bwMode="auto">
          <a:xfrm>
            <a:off x="10367964" y="1939925"/>
            <a:ext cx="758825" cy="638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0" smtClean="0">
                <a:sym typeface="+mn-lt"/>
              </a:rPr>
              <a:t>Emersen,</a:t>
            </a:r>
            <a:br>
              <a:rPr lang="en-US" sz="1400" b="0" smtClean="0">
                <a:sym typeface="+mn-lt"/>
              </a:rPr>
            </a:br>
            <a:r>
              <a:rPr lang="en-US" sz="1400" b="0" smtClean="0">
                <a:sym typeface="+mn-lt"/>
              </a:rPr>
              <a:t>Poncet,</a:t>
            </a:r>
            <a:br>
              <a:rPr lang="en-US" sz="1400" b="0" smtClean="0">
                <a:sym typeface="+mn-lt"/>
              </a:rPr>
            </a:br>
            <a:r>
              <a:rPr lang="en-US" sz="1400" b="0" smtClean="0">
                <a:sym typeface="+mn-lt"/>
              </a:rPr>
              <a:t>Sanders</a:t>
            </a:r>
            <a:endParaRPr lang="en-US" sz="1400" b="0" kern="0" dirty="0">
              <a:sym typeface="+mn-lt"/>
            </a:endParaRPr>
          </a:p>
        </p:txBody>
      </p:sp>
      <p:sp useBgFill="1">
        <p:nvSpPr>
          <p:cNvPr id="200" name="Text Placeholder 42"/>
          <p:cNvSpPr txBox="1">
            <a:spLocks/>
          </p:cNvSpPr>
          <p:nvPr>
            <p:custDataLst>
              <p:tags r:id="rId105"/>
            </p:custDataLst>
          </p:nvPr>
        </p:nvSpPr>
        <p:spPr bwMode="auto">
          <a:xfrm>
            <a:off x="2593975" y="2060575"/>
            <a:ext cx="1325563" cy="212725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fld id="{D36B12DF-74D9-4E46-876A-4D0D9B83BF13}" type="datetime'2''''''''''''''''''''9''''''''''''''''''.9''.''''''''''1''3'''">
              <a:rPr lang="en-US" sz="1400" b="0"/>
              <a:pPr/>
              <a:t>29.9.13</a:t>
            </a:fld>
            <a:r>
              <a:rPr lang="en-US" sz="1400" b="0" smtClean="0">
                <a:sym typeface="+mn-lt"/>
              </a:rPr>
              <a:t> - </a:t>
            </a:r>
            <a:fld id="{E27509AE-AA3D-4DFD-95BB-DBF20163ECA0}" type="datetime'3''''''''.''''''''''''''''''''''''''11.''''13'''''''">
              <a:rPr lang="en-US" sz="1400" b="0"/>
              <a:pPr/>
              <a:t>3.11.13</a:t>
            </a:fld>
            <a:endParaRPr lang="en-US" sz="1400" b="0" kern="0" dirty="0">
              <a:sym typeface="+mn-lt"/>
            </a:endParaRPr>
          </a:p>
        </p:txBody>
      </p:sp>
      <p:sp>
        <p:nvSpPr>
          <p:cNvPr id="195" name="Text Placeholder 29"/>
          <p:cNvSpPr txBox="1">
            <a:spLocks/>
          </p:cNvSpPr>
          <p:nvPr>
            <p:custDataLst>
              <p:tags r:id="rId106"/>
            </p:custDataLst>
          </p:nvPr>
        </p:nvSpPr>
        <p:spPr bwMode="auto">
          <a:xfrm>
            <a:off x="479425" y="3074988"/>
            <a:ext cx="14970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0" smtClean="0">
                <a:sym typeface="+mn-lt"/>
              </a:rPr>
              <a:t>Rollout preparation</a:t>
            </a:r>
            <a:endParaRPr lang="en-US" sz="1400" b="0" kern="0" dirty="0">
              <a:sym typeface="+mn-lt"/>
            </a:endParaRPr>
          </a:p>
        </p:txBody>
      </p:sp>
      <p:sp>
        <p:nvSpPr>
          <p:cNvPr id="207" name="Text Placeholder 29"/>
          <p:cNvSpPr txBox="1">
            <a:spLocks/>
          </p:cNvSpPr>
          <p:nvPr>
            <p:custDataLst>
              <p:tags r:id="rId107"/>
            </p:custDataLst>
          </p:nvPr>
        </p:nvSpPr>
        <p:spPr bwMode="auto">
          <a:xfrm>
            <a:off x="479425" y="4254500"/>
            <a:ext cx="14160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0" smtClean="0">
                <a:sym typeface="+mn-lt"/>
              </a:rPr>
              <a:t>Weekly core team</a:t>
            </a:r>
            <a:endParaRPr lang="en-US" sz="1400" b="0" kern="0" dirty="0">
              <a:sym typeface="+mn-lt"/>
            </a:endParaRPr>
          </a:p>
        </p:txBody>
      </p:sp>
      <p:sp>
        <p:nvSpPr>
          <p:cNvPr id="197" name="Text Placeholder 29"/>
          <p:cNvSpPr txBox="1">
            <a:spLocks/>
          </p:cNvSpPr>
          <p:nvPr>
            <p:custDataLst>
              <p:tags r:id="rId108"/>
            </p:custDataLst>
          </p:nvPr>
        </p:nvSpPr>
        <p:spPr bwMode="auto">
          <a:xfrm>
            <a:off x="479425" y="2409825"/>
            <a:ext cx="14874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0" smtClean="0">
                <a:sym typeface="+mn-lt"/>
              </a:rPr>
              <a:t>Internationalization</a:t>
            </a:r>
            <a:endParaRPr lang="en-US" sz="1400" b="0" kern="0" dirty="0">
              <a:sym typeface="+mn-lt"/>
            </a:endParaRPr>
          </a:p>
        </p:txBody>
      </p:sp>
      <p:sp useBgFill="1">
        <p:nvSpPr>
          <p:cNvPr id="192" name="Text Placeholder 45"/>
          <p:cNvSpPr txBox="1">
            <a:spLocks/>
          </p:cNvSpPr>
          <p:nvPr>
            <p:custDataLst>
              <p:tags r:id="rId109"/>
            </p:custDataLst>
          </p:nvPr>
        </p:nvSpPr>
        <p:spPr bwMode="auto">
          <a:xfrm>
            <a:off x="2246313" y="4954588"/>
            <a:ext cx="590550" cy="212725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fld id="{20170BE1-2C48-48CD-B1F9-A9B420EAD40A}" type="datetime'7''''.''''1''''''''0''''''.''''''''''1''''''''''3'''''''''''''">
              <a:rPr lang="en-US" sz="1400" b="0"/>
              <a:pPr/>
              <a:t>7.10.13</a:t>
            </a:fld>
            <a:endParaRPr lang="en-US" sz="1400" b="0" kern="0" dirty="0">
              <a:sym typeface="+mn-lt"/>
            </a:endParaRPr>
          </a:p>
        </p:txBody>
      </p:sp>
      <p:sp useBgFill="1">
        <p:nvSpPr>
          <p:cNvPr id="198" name="Text Placeholder 44"/>
          <p:cNvSpPr txBox="1">
            <a:spLocks/>
          </p:cNvSpPr>
          <p:nvPr>
            <p:custDataLst>
              <p:tags r:id="rId110"/>
            </p:custDataLst>
          </p:nvPr>
        </p:nvSpPr>
        <p:spPr bwMode="auto">
          <a:xfrm>
            <a:off x="8842375" y="3754438"/>
            <a:ext cx="1239838" cy="212725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fld id="{0C90AFDD-7506-428F-8D13-3458CE1EC25E}" type="datetime'''1''3''''.''''1''.''''''''''1''''''''''''4'''''''''''">
              <a:rPr lang="en-US" sz="1400" b="0"/>
              <a:pPr/>
              <a:t>13.1.14</a:t>
            </a:fld>
            <a:r>
              <a:rPr lang="en-US" sz="1400" b="0" smtClean="0">
                <a:sym typeface="+mn-lt"/>
              </a:rPr>
              <a:t> - </a:t>
            </a:r>
            <a:fld id="{2E25940E-4CF4-4A69-A18A-4A2E3CD6E6D0}" type="datetime'4''''.''''''''''2''''''''.''''''''''''''1''4'''''''''''''''''">
              <a:rPr lang="en-US" sz="1400" b="0"/>
              <a:pPr/>
              <a:t>4.2.14</a:t>
            </a:fld>
            <a:endParaRPr lang="en-US" sz="1400" b="0" kern="0" dirty="0">
              <a:sym typeface="+mn-lt"/>
            </a:endParaRPr>
          </a:p>
        </p:txBody>
      </p:sp>
      <p:sp useBgFill="1">
        <p:nvSpPr>
          <p:cNvPr id="201" name="Text Placeholder 41"/>
          <p:cNvSpPr txBox="1">
            <a:spLocks/>
          </p:cNvSpPr>
          <p:nvPr>
            <p:custDataLst>
              <p:tags r:id="rId111"/>
            </p:custDataLst>
          </p:nvPr>
        </p:nvSpPr>
        <p:spPr bwMode="auto">
          <a:xfrm>
            <a:off x="8299450" y="5662613"/>
            <a:ext cx="1111250" cy="42545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0" smtClean="0"/>
              <a:t>Official launch</a:t>
            </a:r>
            <a:br>
              <a:rPr lang="en-US" sz="1400" b="0" smtClean="0"/>
            </a:br>
            <a:fld id="{CFAD85EC-0C8C-4C13-A280-D9016AA26245}" type="datetime'''''1''''''''''''2''''''''''''.''''''''''''''1''''''.1''4'''''">
              <a:rPr lang="en-US" sz="1400" b="0"/>
              <a:pPr/>
              <a:t>12.1.14</a:t>
            </a:fld>
            <a:endParaRPr lang="en-US" sz="1400" b="0" kern="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3795707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02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/m_precDefaultYear&gt;&lt;m_precDefaultQuarter&gt;&lt;m_bNumberIsYear val=&quot;0&quot;/&gt;&lt;m_strFormatTime&gt;Q%5&lt;/m_strFormatTime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m_strFormatTime&gt;%#d&lt;/m_strFormatTime&gt;&lt;/m_precDefaultDay&gt;&lt;m_mruColor&gt;&lt;m_vecMRU length=&quot;1&quot;&gt;&lt;elem m_fUsage=&quot;1.00000000000000000000E+000&quot;&gt;&lt;m_msothmcolidx val=&quot;0&quot;/&gt;&lt;m_rgb r=&quot;cf&quot; g=&quot;cf&quot; b=&quot;cf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mT08I4p0edf4aMY6fPs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tkqQLxyUqGZLdkgL74N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1H.buq7kCc5HULK76D9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52wkd.mUKRlRMgVUky6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_FLC05.kuG7eNij8NyD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iL0dCSY0ShJr52zcgIu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yMD3QwTEeBIeh1yxWlk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w_jKUFSkGjVuSMZPFSa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1l0fN6R0qYQBhpe4vNS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CbtF.ogUqzhkLE2i1Eh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1XE3FicUqGINK8e6YUU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J74jKU.0aewFmphw8Mg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WZbr4Jbkqx3xrRnG1jL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ubkxRLYkqEU1ycLHq2c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qG2bR4hUKNeWNuhOn9g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S0NrEQX02Az_LxVdk1.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taHHft_0qQfAaNCiB9V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nBFy5DfEOTB4aFE1XSS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DQAoodfUiLlsvS4Q6mM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RAdm9JZEu2ODmmRAGI4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j3xn2d1EKar03bdb1NJ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KVIhGQnUmDYQjP.gFbM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8miD0AcjEOgJjj2fcb9V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XeCg4F9ECFyNxUFFSge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ZRkCvfD0mfd9wjQKKu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IDDONOTDELETE" val="H6EdDtx6u0C5EOXGQOn_yg"/>
  <p:tag name="THINKCELLSTATEDONOTDELETE" val="JybfW67J70eTncmI9DWav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fE9FosdkGTfqvawoqrx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5uaqfrwkiyf7bXkm4S_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8LLsTj5E.0cukcr9dWf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3GgeYx7U.7wPEfa60Z2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nrqRfbSEm_Jp2SaeZWT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JlHwTK2UKrP6OL3Rxzn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OlGpjLE0q2kXdYGGuZH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gGdXD9S0G.UVR5yi5CB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z6oimKaUeEWDhAs9gQX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tdYxwDmk.ml9fWqh.y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yBTyVV7dJkO_SA.ZGwD20w"/>
  <p:tag name="THINKCELLIDDONOTDELETE" val="WImSoy1BGk2qeJ_gZBR4C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FfFW_NgUSZsSfyYzBOr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S9QGdTtkmJqSm.FZog1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lJg4XYUUuFYSbTIzyH9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MOwIaCzUe.Yly1dpHwb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nt7xl9GEaQRWOW.7v4N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bOQf4LgEaHtR1fW6QU7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BmyxZcaUiDZpMMCMXR2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OKFTseSkmGAeTQBqXZa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9ZplOm_UGrBcr1TP_MN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.Z_Ouip0yW_yqgqDuD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apZ1n4fkuIEU51k6F2W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WKK5Ko3kuGxZzyqM0XX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gY6MCi_U.nvVliMZ6AK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YEZQfJWkWX6KVRACIr0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z.R7O87EmQqY6BJ7Nrq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h_z.frHUqg5paPjJMUp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HASOanYEq72g32ahJ2Q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ff1Dfqtkq649RG7MsV7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OFVkI24kOfW.jLQqSra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QMxy.7706E_HQyNB8ga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lUhseyIESm49iC8vYGL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TO7mfupU.UwJG93xEgv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0pCGpMtki5ql9EQcCmt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C8uDbs0EyE0YPDunMh_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uwWAPP60iVIoYjv5Btg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OY4nf8Y0C5Yyp4S_YIN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qHCiu0hE.gzLTJRTpD3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FPZhXue0OVbZxYapRZ_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sR2eneEUuFguDSk0Or1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J8ltyZrkeTngnRZPESd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V3Oh6aekOk5t5wpstmZ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evGHAdlEqToWJwrs7Eg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IVjhuXtUOhLgR8PtJzw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8_CfoBC0SgkNIi8Qtz8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o4FaqOB06I0.p9Yyh_T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F4sXs9ZkuCvwq5RXI7Z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hFR_SWskSGGjQOAUzUg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odqDNKXEO7AbPfWks9k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_CyEG_OUyOTcoKy0CAr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uT1IMbmEmXF_pOAL3cz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xTf27qb0Otd5CAidg2b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8Mxvq_dkGh8agBvKCV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.2ODb.XU2lVek7YEkMm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KhsiMW2Ueo_lTJNoyPo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Dm6uFpwEmXGJzujSowQ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Zm.n4nIUOae6fmyFn1w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x9NQJjTU2PyjGtyuNer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JHT2IM00OJT0S_VfBaS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.7xFnq00GwxyL37cgKk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Jh5uvqcEqBsZLh7Por4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NCk2VeU0ybT_iYsw8iv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KtbmS.I0.eidLfmx4zu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rq_sWKpEabrybG02KU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1x1DHP5UCTuchhliurH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Inix_g0EaEfDOhbBbS6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Atwr7CrEqnrGpnfvoTV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1JLGqNbUObAGH3rb0tk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IeMBOx8kyQyw7Ht.isu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07Bmyt70mQ3H5BLdA.u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mxEtdpsk66_6TZFsCHS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fei1Gz9EWCGg5A6Cu7D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FYpiAZpEmAaXrtl98T0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NaK.a_nUOuUV7PCeXuo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bFzVVnzU.vTL.R9058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clvslrQkevGQhJ1kogQ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Rlm2RKOkO9bS964J5u_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G5vH7S0EyYjnx7ULunL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OCB.ULk0KfnpSLmmxnO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OO32CsiECWon4GVzpAm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.KjFUfh0KymUO69VbR8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jchbw5Yk.Ex.Drg7uPG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T6WIl.IUikLU_ppMhyh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4LkHKQKk2DTA7UUT7.0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sHUrMF0UirhtkAw87jh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99rP3XdEmC99jSyssh1Q"/>
</p:tagLst>
</file>

<file path=ppt/theme/theme1.xml><?xml version="1.0" encoding="utf-8"?>
<a:theme xmlns:a="http://schemas.openxmlformats.org/drawingml/2006/main" name="think-cell Master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C0C0C0"/>
      </a:lt2>
      <a:accent1>
        <a:srgbClr val="FFFFFF"/>
      </a:accent1>
      <a:accent2>
        <a:srgbClr val="D8D8D8"/>
      </a:accent2>
      <a:accent3>
        <a:srgbClr val="FFFFFF"/>
      </a:accent3>
      <a:accent4>
        <a:srgbClr val="000000"/>
      </a:accent4>
      <a:accent5>
        <a:srgbClr val="FFFFFF"/>
      </a:accent5>
      <a:accent6>
        <a:srgbClr val="CCD3DA"/>
      </a:accent6>
      <a:hlink>
        <a:srgbClr val="BACCDE"/>
      </a:hlink>
      <a:folHlink>
        <a:srgbClr val="85A5C5"/>
      </a:folHlink>
    </a:clrScheme>
    <a:fontScheme name="Blank Pre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89535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89535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80"/>
        </a:dk1>
        <a:lt1>
          <a:srgbClr val="FFFFFF"/>
        </a:lt1>
        <a:dk2>
          <a:srgbClr val="B4D7C8"/>
        </a:dk2>
        <a:lt2>
          <a:srgbClr val="C0C0C0"/>
        </a:lt2>
        <a:accent1>
          <a:srgbClr val="000080"/>
        </a:accent1>
        <a:accent2>
          <a:srgbClr val="1AB2E2"/>
        </a:accent2>
        <a:accent3>
          <a:srgbClr val="FFFFFF"/>
        </a:accent3>
        <a:accent4>
          <a:srgbClr val="00006C"/>
        </a:accent4>
        <a:accent5>
          <a:srgbClr val="AAAAC0"/>
        </a:accent5>
        <a:accent6>
          <a:srgbClr val="16A1CD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007770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006B65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99CC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AACAE2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80"/>
        </a:dk1>
        <a:lt1>
          <a:srgbClr val="FFFFFF"/>
        </a:lt1>
        <a:dk2>
          <a:srgbClr val="B4D7C8"/>
        </a:dk2>
        <a:lt2>
          <a:srgbClr val="C0C0C0"/>
        </a:lt2>
        <a:accent1>
          <a:srgbClr val="000080"/>
        </a:accent1>
        <a:accent2>
          <a:srgbClr val="1AB2E2"/>
        </a:accent2>
        <a:accent3>
          <a:srgbClr val="FFFFFF"/>
        </a:accent3>
        <a:accent4>
          <a:srgbClr val="00006C"/>
        </a:accent4>
        <a:accent5>
          <a:srgbClr val="AAAAC0"/>
        </a:accent5>
        <a:accent6>
          <a:srgbClr val="16A1CD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007770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006B65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99CC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AACAE2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000000"/>
        </a:dk1>
        <a:lt1>
          <a:srgbClr val="FFFFFF"/>
        </a:lt1>
        <a:dk2>
          <a:srgbClr val="000000"/>
        </a:dk2>
        <a:lt2>
          <a:srgbClr val="EAEAEA"/>
        </a:lt2>
        <a:accent1>
          <a:srgbClr val="FFFFFF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7</Words>
  <Application>Microsoft Office PowerPoint</Application>
  <PresentationFormat>Custom</PresentationFormat>
  <Paragraphs>44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think-cell Master</vt:lpstr>
      <vt:lpstr>think-cell Slide</vt:lpstr>
      <vt:lpstr>Gantt Char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11-29T16:56:13Z</dcterms:created>
  <dcterms:modified xsi:type="dcterms:W3CDTF">2013-11-29T16:56:33Z</dcterms:modified>
</cp:coreProperties>
</file>